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sldIdLst>
    <p:sldId id="257" r:id="rId6"/>
  </p:sldIdLst>
  <p:sldSz cx="10080625" cy="5040313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0039"/>
    <a:srgbClr val="A0A044"/>
    <a:srgbClr val="6B641F"/>
    <a:srgbClr val="CEC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88" autoAdjust="0"/>
    <p:restoredTop sz="94660"/>
  </p:normalViewPr>
  <p:slideViewPr>
    <p:cSldViewPr snapToGrid="0">
      <p:cViewPr varScale="1">
        <p:scale>
          <a:sx n="176" d="100"/>
          <a:sy n="176" d="100"/>
        </p:scale>
        <p:origin x="442" y="7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078" y="824885"/>
            <a:ext cx="7560469" cy="1754776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078" y="2647331"/>
            <a:ext cx="7560469" cy="1216909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872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003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13947" y="268350"/>
            <a:ext cx="2173635" cy="4271432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3043" y="268350"/>
            <a:ext cx="6394896" cy="4271432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288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91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793" y="1256579"/>
            <a:ext cx="8694539" cy="2096630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7793" y="3373044"/>
            <a:ext cx="8694539" cy="1102568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907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3043" y="1341750"/>
            <a:ext cx="4284266" cy="31980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3316" y="1341750"/>
            <a:ext cx="4284266" cy="31980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806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268350"/>
            <a:ext cx="8694539" cy="97422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4357" y="1235577"/>
            <a:ext cx="4264576" cy="605537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4357" y="1841114"/>
            <a:ext cx="4264576" cy="270800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03316" y="1235577"/>
            <a:ext cx="4285579" cy="605537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03316" y="1841114"/>
            <a:ext cx="4285579" cy="270800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035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155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524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336021"/>
            <a:ext cx="3251264" cy="1176073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5579" y="725712"/>
            <a:ext cx="5103316" cy="3581889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4356" y="1512094"/>
            <a:ext cx="3251264" cy="2801341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6020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356" y="336021"/>
            <a:ext cx="3251264" cy="1176073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85579" y="725712"/>
            <a:ext cx="5103316" cy="3581889"/>
          </a:xfrm>
        </p:spPr>
        <p:txBody>
          <a:bodyPr anchor="t"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4356" y="1512094"/>
            <a:ext cx="3251264" cy="2801341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177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3043" y="268350"/>
            <a:ext cx="8694539" cy="9742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043" y="1341750"/>
            <a:ext cx="8694539" cy="3198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3043" y="4671624"/>
            <a:ext cx="226814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5AF7A-D1F1-44F6-9E50-C79D58050BA4}" type="datetimeFigureOut">
              <a:rPr lang="en-US" smtClean="0"/>
              <a:t>12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9207" y="4671624"/>
            <a:ext cx="340221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19441" y="4671624"/>
            <a:ext cx="2268141" cy="268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E92838-740C-420B-9518-DF4A7DEF82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091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0A361EF0-0210-6725-38C6-F512C99851A5}"/>
              </a:ext>
            </a:extLst>
          </p:cNvPr>
          <p:cNvCxnSpPr>
            <a:cxnSpLocks/>
          </p:cNvCxnSpPr>
          <p:nvPr/>
        </p:nvCxnSpPr>
        <p:spPr>
          <a:xfrm rot="16200000" flipH="1">
            <a:off x="3920948" y="2294269"/>
            <a:ext cx="3280420" cy="545868"/>
          </a:xfrm>
          <a:prstGeom prst="bentConnector4">
            <a:avLst>
              <a:gd name="adj1" fmla="val 709"/>
              <a:gd name="adj2" fmla="val 389506"/>
            </a:avLst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BCAE344D-4F0E-B748-6127-5C543E13F4BC}"/>
              </a:ext>
            </a:extLst>
          </p:cNvPr>
          <p:cNvGrpSpPr/>
          <p:nvPr/>
        </p:nvGrpSpPr>
        <p:grpSpPr>
          <a:xfrm>
            <a:off x="625" y="0"/>
            <a:ext cx="10080000" cy="5040000"/>
            <a:chOff x="625" y="0"/>
            <a:chExt cx="10080000" cy="5040000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A44146A4-80AA-4FB5-8B0A-6BB19B353D43}"/>
                </a:ext>
              </a:extLst>
            </p:cNvPr>
            <p:cNvSpPr/>
            <p:nvPr/>
          </p:nvSpPr>
          <p:spPr bwMode="gray">
            <a:xfrm rot="16200000">
              <a:off x="-371049" y="3582269"/>
              <a:ext cx="1791642" cy="548087"/>
            </a:xfrm>
            <a:prstGeom prst="rect">
              <a:avLst/>
            </a:prstGeom>
            <a:gradFill flip="none" rotWithShape="1">
              <a:gsLst>
                <a:gs pos="0">
                  <a:srgbClr val="00BCFF">
                    <a:shade val="30000"/>
                    <a:satMod val="115000"/>
                  </a:srgbClr>
                </a:gs>
                <a:gs pos="50000">
                  <a:srgbClr val="00BCFF">
                    <a:shade val="67500"/>
                    <a:satMod val="115000"/>
                  </a:srgbClr>
                </a:gs>
                <a:gs pos="100000">
                  <a:srgbClr val="00BCFF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Victim</a:t>
              </a:r>
            </a:p>
          </p:txBody>
        </p:sp>
        <p:grpSp>
          <p:nvGrpSpPr>
            <p:cNvPr id="176" name="Gruppieren 175">
              <a:extLst>
                <a:ext uri="{FF2B5EF4-FFF2-40B4-BE49-F238E27FC236}">
                  <a16:creationId xmlns:a16="http://schemas.microsoft.com/office/drawing/2014/main" id="{4BBF0E06-1277-4994-AFE9-B37C048D848A}"/>
                </a:ext>
              </a:extLst>
            </p:cNvPr>
            <p:cNvGrpSpPr/>
            <p:nvPr/>
          </p:nvGrpSpPr>
          <p:grpSpPr>
            <a:xfrm>
              <a:off x="4643052" y="634605"/>
              <a:ext cx="1196743" cy="3719002"/>
              <a:chOff x="4643052" y="470490"/>
              <a:chExt cx="1196743" cy="3719002"/>
            </a:xfrm>
          </p:grpSpPr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30AE1D67-1A73-4290-BF1C-838E2810220E}"/>
                  </a:ext>
                </a:extLst>
              </p:cNvPr>
              <p:cNvSpPr txBox="1"/>
              <p:nvPr/>
            </p:nvSpPr>
            <p:spPr>
              <a:xfrm>
                <a:off x="4643052" y="470490"/>
                <a:ext cx="1196743" cy="292388"/>
              </a:xfrm>
              <a:prstGeom prst="rect">
                <a:avLst/>
              </a:prstGeom>
              <a:noFill/>
            </p:spPr>
            <p:txBody>
              <a:bodyPr wrap="square" rIns="0" bIns="0" rtlCol="0" anchor="ctr">
                <a:spAutoFit/>
              </a:bodyPr>
              <a:lstStyle/>
              <a:p>
                <a:pPr marL="0" marR="0" lvl="0" indent="0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Cimetidine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  <p:sp>
            <p:nvSpPr>
              <p:cNvPr id="75" name="Textfeld 74">
                <a:extLst>
                  <a:ext uri="{FF2B5EF4-FFF2-40B4-BE49-F238E27FC236}">
                    <a16:creationId xmlns:a16="http://schemas.microsoft.com/office/drawing/2014/main" id="{234E6B2D-5E04-446D-9D83-8C86BAA818DE}"/>
                  </a:ext>
                </a:extLst>
              </p:cNvPr>
              <p:cNvSpPr txBox="1"/>
              <p:nvPr/>
            </p:nvSpPr>
            <p:spPr>
              <a:xfrm>
                <a:off x="4695556" y="3897104"/>
                <a:ext cx="1091734" cy="292388"/>
              </a:xfrm>
              <a:prstGeom prst="rect">
                <a:avLst/>
              </a:prstGeom>
              <a:noFill/>
            </p:spPr>
            <p:txBody>
              <a:bodyPr wrap="square" rIns="0" bIns="0" rtlCol="0">
                <a:spAutoFit/>
              </a:bodyPr>
              <a:lstStyle/>
              <a:p>
                <a:pPr marL="0" marR="0" lvl="0" indent="0" algn="ctr" defTabSz="122145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Metfor</a:t>
                </a:r>
                <a:r>
                  <a:rPr lang="en-US" sz="1600" b="1" kern="0" dirty="0">
                    <a:solidFill>
                      <a:srgbClr val="10384F"/>
                    </a:solidFill>
                    <a:latin typeface="Arial"/>
                    <a:cs typeface="Calibri" panose="020F0502020204030204" pitchFamily="34" charset="0"/>
                  </a:rPr>
                  <a:t>min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0A357C56-BAD9-4853-91EE-2F1649F1828A}"/>
                </a:ext>
              </a:extLst>
            </p:cNvPr>
            <p:cNvSpPr/>
            <p:nvPr/>
          </p:nvSpPr>
          <p:spPr bwMode="gray">
            <a:xfrm>
              <a:off x="625" y="0"/>
              <a:ext cx="10080000" cy="5040000"/>
            </a:xfrm>
            <a:prstGeom prst="rect">
              <a:avLst/>
            </a:prstGeom>
            <a:noFill/>
            <a:ln w="76200" cap="flat" cmpd="sng" algn="ctr">
              <a:solidFill>
                <a:srgbClr val="10384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B01FC0D7-7C44-4907-8594-22DB3C47610D}"/>
                </a:ext>
              </a:extLst>
            </p:cNvPr>
            <p:cNvSpPr/>
            <p:nvPr/>
          </p:nvSpPr>
          <p:spPr bwMode="gray">
            <a:xfrm rot="16200000">
              <a:off x="-703723" y="1277947"/>
              <a:ext cx="2462212" cy="542847"/>
            </a:xfrm>
            <a:prstGeom prst="rect">
              <a:avLst/>
            </a:prstGeom>
            <a:gradFill flip="none" rotWithShape="1">
              <a:gsLst>
                <a:gs pos="0">
                  <a:srgbClr val="D30F4B">
                    <a:shade val="30000"/>
                    <a:satMod val="115000"/>
                  </a:srgbClr>
                </a:gs>
                <a:gs pos="50000">
                  <a:srgbClr val="BD0039"/>
                </a:gs>
                <a:gs pos="100000">
                  <a:srgbClr val="D30F4B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>Perpetrator</a:t>
              </a:r>
            </a:p>
          </p:txBody>
        </p:sp>
      </p:grp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D5F612BE-E443-3EA7-A4F6-CC6B9B107AA1}"/>
              </a:ext>
            </a:extLst>
          </p:cNvPr>
          <p:cNvCxnSpPr>
            <a:cxnSpLocks/>
            <a:stCxn id="74" idx="2"/>
            <a:endCxn id="75" idx="1"/>
          </p:cNvCxnSpPr>
          <p:nvPr/>
        </p:nvCxnSpPr>
        <p:spPr>
          <a:xfrm rot="5400000">
            <a:off x="3328280" y="2294269"/>
            <a:ext cx="3280420" cy="545868"/>
          </a:xfrm>
          <a:prstGeom prst="bentConnector4">
            <a:avLst>
              <a:gd name="adj1" fmla="val 709"/>
              <a:gd name="adj2" fmla="val 389506"/>
            </a:avLst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5B9C9DA-B0C7-9067-FF38-ED4061C7D4EC}"/>
              </a:ext>
            </a:extLst>
          </p:cNvPr>
          <p:cNvCxnSpPr>
            <a:cxnSpLocks/>
          </p:cNvCxnSpPr>
          <p:nvPr/>
        </p:nvCxnSpPr>
        <p:spPr>
          <a:xfrm flipH="1">
            <a:off x="5254675" y="926993"/>
            <a:ext cx="1" cy="3134226"/>
          </a:xfrm>
          <a:prstGeom prst="straightConnector1">
            <a:avLst/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3E2F484E-AD57-2CF6-D1F7-8A5C802D9275}"/>
              </a:ext>
            </a:extLst>
          </p:cNvPr>
          <p:cNvGrpSpPr/>
          <p:nvPr/>
        </p:nvGrpSpPr>
        <p:grpSpPr>
          <a:xfrm>
            <a:off x="2079146" y="1853985"/>
            <a:ext cx="1865858" cy="1678649"/>
            <a:chOff x="2782938" y="2002867"/>
            <a:chExt cx="1865858" cy="1678649"/>
          </a:xfrm>
        </p:grpSpPr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A5DF4011-45B9-1D7F-98F9-EE7FEB6E072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876543" y="2002867"/>
              <a:ext cx="1678649" cy="1678649"/>
            </a:xfrm>
            <a:prstGeom prst="rect">
              <a:avLst/>
            </a:prstGeom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3529796A-F003-4598-96A5-F678DAE42860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>
            <a:xfrm>
              <a:off x="2782938" y="2611359"/>
              <a:ext cx="1865858" cy="4616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12214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4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/>
                  <a:cs typeface="Calibri" panose="020F0502020204030204" pitchFamily="34" charset="0"/>
                </a:rPr>
                <a:t>MATE1</a:t>
              </a:r>
              <a:endPara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FFDDE0-56CF-C0D4-593E-A45F6698C7E0}"/>
              </a:ext>
            </a:extLst>
          </p:cNvPr>
          <p:cNvGrpSpPr/>
          <p:nvPr/>
        </p:nvGrpSpPr>
        <p:grpSpPr>
          <a:xfrm>
            <a:off x="4223358" y="1853985"/>
            <a:ext cx="1865858" cy="1678649"/>
            <a:chOff x="4887397" y="2076162"/>
            <a:chExt cx="1865858" cy="1678649"/>
          </a:xfrm>
        </p:grpSpPr>
        <p:pic>
          <p:nvPicPr>
            <p:cNvPr id="3" name="Grafik 25">
              <a:extLst>
                <a:ext uri="{FF2B5EF4-FFF2-40B4-BE49-F238E27FC236}">
                  <a16:creationId xmlns:a16="http://schemas.microsoft.com/office/drawing/2014/main" id="{C1C5B8B5-A51B-A33F-8EFE-9538BAE1CD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81002" y="2076162"/>
              <a:ext cx="1678649" cy="1678649"/>
            </a:xfrm>
            <a:prstGeom prst="rect">
              <a:avLst/>
            </a:prstGeom>
          </p:spPr>
        </p:pic>
        <p:sp>
          <p:nvSpPr>
            <p:cNvPr id="6" name="Textfeld 26">
              <a:extLst>
                <a:ext uri="{FF2B5EF4-FFF2-40B4-BE49-F238E27FC236}">
                  <a16:creationId xmlns:a16="http://schemas.microsoft.com/office/drawing/2014/main" id="{D778B199-02CD-69C6-72FC-F19EFBE1C72B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>
            <a:xfrm>
              <a:off x="4887397" y="2684654"/>
              <a:ext cx="1865858" cy="4616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12214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4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/>
                  <a:cs typeface="Calibri" panose="020F0502020204030204" pitchFamily="34" charset="0"/>
                </a:rPr>
                <a:t>OCT1</a:t>
              </a:r>
              <a:endPara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5D1331-523C-52D1-59CE-5D921242B407}"/>
              </a:ext>
            </a:extLst>
          </p:cNvPr>
          <p:cNvGrpSpPr/>
          <p:nvPr/>
        </p:nvGrpSpPr>
        <p:grpSpPr>
          <a:xfrm>
            <a:off x="6367569" y="1853985"/>
            <a:ext cx="1865858" cy="1678649"/>
            <a:chOff x="7071361" y="2076161"/>
            <a:chExt cx="1865858" cy="1678649"/>
          </a:xfrm>
        </p:grpSpPr>
        <p:pic>
          <p:nvPicPr>
            <p:cNvPr id="7" name="Grafik 25">
              <a:extLst>
                <a:ext uri="{FF2B5EF4-FFF2-40B4-BE49-F238E27FC236}">
                  <a16:creationId xmlns:a16="http://schemas.microsoft.com/office/drawing/2014/main" id="{8A2F7D66-BA27-ECBF-0E87-1EA95CA4A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64966" y="2076161"/>
              <a:ext cx="1678649" cy="1678649"/>
            </a:xfrm>
            <a:prstGeom prst="rect">
              <a:avLst/>
            </a:prstGeom>
          </p:spPr>
        </p:pic>
        <p:sp>
          <p:nvSpPr>
            <p:cNvPr id="8" name="Textfeld 26">
              <a:extLst>
                <a:ext uri="{FF2B5EF4-FFF2-40B4-BE49-F238E27FC236}">
                  <a16:creationId xmlns:a16="http://schemas.microsoft.com/office/drawing/2014/main" id="{0B46FCBA-893E-46C3-F4A6-97FFDD199F6B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>
            <a:xfrm>
              <a:off x="7071361" y="2684653"/>
              <a:ext cx="1865858" cy="461665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12214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24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/>
                  <a:cs typeface="Calibri" panose="020F0502020204030204" pitchFamily="34" charset="0"/>
                </a:rPr>
                <a:t>OCT2</a:t>
              </a:r>
              <a:endPara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8911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7hT6wefa85NhEnhF7n2UGQEAAAAAAADAAAAAAADAAAAAwADAAEA////////BQAAAAMAEAALjpG3e5FYD06+JAuZt9nszwQAAAABAAMAAAACAAMAAAAEAAQAAgD///////8FAAAABAAQAAvoQ/2FkFT4RazijJL4UDo3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uFPrB59rzk2ESeEXufZQZANEYXRhAFMAAAAIUHJlc2VudGF0aW9uU2Nhbm5lZEZvckxpbmtlZFNoYXBlcwAAAk51bWJlckZvcm1hdFNlcGFyYXRvck1vZGUACgAAAEF1dG9tYXRpYwAAAk5hbWUAJAAAAExpbmtlZFNoYXBlUHJlc2VudGF0aW9uU2V0dGluZ3NEYXRhABBWZXJzaW9uAAAAAAAJTGFzdFdyaXRlAF1iLmmTAQAAAAEA/////4MAgwAAAAVfaWQAEAAAAASOkbd7kVgPTr4kC5m32ezPA0RhdGEAGwAAAARMaW5rZWRTaGFwZURhdGEABQAAAAAAAk5hbWUAGQAAAExpbmtlZFNoYXBlc0RhdGFQcm9wZXJ0eQAQVmVyc2lvbgAAAAAACUxhc3RXcml0ZQC5YS5pkwEAAAACAP////+DAIMAAAAFX2lkABAAAAAE6EP9hZBU+EWs4oyS+FA6NwNEYXRhABsAAAAETGlua2VkU2hhcGVEYXRhAAUAAAAAAAJOYW1lABkAAABMaW5rZWRTaGFwZXNEYXRhUHJvcGVydHkAEFZlcnNpb24AAQAAAAlMYXN0V3JpdGUALmIuaZ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C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AQEDAAAAAwD///////8aAAZMaW5rZWRTaGFwZXNEYXRhUHJvcGVydHlfMAQAAAABAAUAAAACAAUAAAAEAAQAAgEDAAAABAD///////8aAAZMaW5rZWRTaGFwZXNEYXRhUHJvcGVydHlfMQQAAAACAAUAAAADAAUAAAABAA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82332678624827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z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49jzGsyo5MrhhhU3645gUEAAAAAAADAAAABAADAAAAAwADAAAABAADAAAAAwADAAAABAADAAAAAwADAAMA////////BQAAAAMAEAAL6yQvx0w2tU2vdDQqP9t0fwQAAAABAAMAAAACAAMAAAABAAMAAAACAP///////wMAAAACAP///////wQAAwD///////8FAAAABAAQAAv0m2kprl8GQZVuzE4xfUJT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j2PMazKjkyuGGFTfrjmBQREYXRhAAUAAAAAAk5hbWUADQAAAExpbmtEYXRhTGlzdAAQVmVyc2lvbgAAAAAACUxhc3RXcml0ZQBF1T9pkwEAAAABAP////9hAGEAAAAFX2lkABAAAAAE6yQvx0w2tU2vdDQqP9t0fwREYXRhAAUAAAAAAk5hbWUADQAAAExpbmtEYXRhTGlzdAAQVmVyc2lvbgABAAAACUxhc3RXcml0ZQBK1T9pkwEAAAACAP////9wAHAAAAAFX2lkABAAAAAE9JtpKa5fBkGVbsxOMX1CUwNEYXRhABYAAAACUGVyc29uYWxJZAABAAAAAAACTmFtZQALAAAAUGVyc29uYWxJZAAQVmVyc2lvbgAAAAAACUxhc3RXcml0ZQBv1T9p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AwAFAAAAAAAFAAAAAwADAAMBAwAAAAMA////////DgAGTGlua0RhdGFMaXN0XzEEAAAAAQAFAAAAAgAFAAAABAAFAAAAAgAFAAAABAAFAAAAAg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82344113893487"/>
  <p:tag name="EMPOWERCHARTSPROPERTIES_B_LENGTH" val="24576"/>
  <p:tag name="DOWN_MIGRATION_INITIAL_LAYOUT_REQUIRED" val="9.2.99"/>
  <p:tag name="RUNTIME_ID" val="b2d7fdd6-934f-4a63-937e-eb6337ae1bcb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z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49jzGsyo5MrhhhU3645gUEAAAAAAADAAAABAADAAAAAwADAAAABAADAAAAAwADAAAABAADAAAAAwADAAMA////////BQAAAAMAEAAL6yQvx0w2tU2vdDQqP9t0fwQAAAABAAMAAAACAAMAAAABAAMAAAACAP///////wMAAAACAP///////wQAAwD///////8FAAAABAAQAAv0m2kprl8GQZVuzE4xfUJT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j2PMazKjkyuGGFTfrjmBQREYXRhAAUAAAAAAk5hbWUADQAAAExpbmtEYXRhTGlzdAAQVmVyc2lvbgAAAAAACUxhc3RXcml0ZQBF1T9pkwEAAAABAP////9hAGEAAAAFX2lkABAAAAAE6yQvx0w2tU2vdDQqP9t0fwREYXRhAAUAAAAAAk5hbWUADQAAAExpbmtEYXRhTGlzdAAQVmVyc2lvbgABAAAACUxhc3RXcml0ZQBK1T9pkwEAAAACAP////9wAHAAAAAFX2lkABAAAAAE9JtpKa5fBkGVbsxOMX1CUwNEYXRhABYAAAACUGVyc29uYWxJZAABAAAAAAACTmFtZQALAAAAUGVyc29uYWxJZAAQVmVyc2lvbgAAAAAACUxhc3RXcml0ZQBv1T9p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AwAFAAAAAAAFAAAAAwADAAMBAwAAAAMA////////DgAGTGlua0RhdGFMaXN0XzEEAAAAAQAFAAAAAgAFAAAABAAFAAAAAgAFAAAABAAFAAAAAg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82344113893487"/>
  <p:tag name="EMPOWERCHARTSPROPERTIES_B_LENGTH" val="24576"/>
  <p:tag name="DOWN_MIGRATION_INITIAL_LAYOUT_REQUIRED" val="9.2.99"/>
  <p:tag name="RUNTIME_ID" val="b2d7fdd6-934f-4a63-937e-eb6337ae1bc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z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49jzGsyo5MrhhhU3645gUEAAAAAAADAAAABAADAAAAAwADAAAABAADAAAAAwADAAAABAADAAAAAwADAAMA////////BQAAAAMAEAAL6yQvx0w2tU2vdDQqP9t0fwQAAAABAAMAAAACAAMAAAABAAMAAAACAP///////wMAAAACAP///////wQAAwD///////8FAAAABAAQAAv0m2kprl8GQZVuzE4xfUJTBAAAAAIAAwAAAAAAAw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j2PMazKjkyuGGFTfrjmBQREYXRhAAUAAAAAAk5hbWUADQAAAExpbmtEYXRhTGlzdAAQVmVyc2lvbgAAAAAACUxhc3RXcml0ZQBF1T9pkwEAAAABAP////9hAGEAAAAFX2lkABAAAAAE6yQvx0w2tU2vdDQqP9t0fwREYXRhAAUAAAAAAk5hbWUADQAAAExpbmtEYXRhTGlzdAAQVmVyc2lvbgABAAAACUxhc3RXcml0ZQBK1T9pkwEAAAACAP////9wAHAAAAAFX2lkABAAAAAE9JtpKa5fBkGVbsxOMX1CUwNEYXRhABYAAAACUGVyc29uYWxJZAABAAAAAAACTmFtZQALAAAAUGVyc29uYWxJZAAQVmVyc2lvbgAAAAAACUxhc3RXcml0ZQBv1T9p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i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AFAAAAAwAFAAAAAAAFAAAAAwADAAMBAwAAAAMA////////DgAGTGlua0RhdGFMaXN0XzEEAAAAAQAFAAAAAgAFAAAABAAFAAAAAgAFAAAABAAFAAAAAgD///////8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82344113893487"/>
  <p:tag name="EMPOWERCHARTSPROPERTIES_B_LENGTH" val="24576"/>
  <p:tag name="DOWN_MIGRATION_INITIAL_LAYOUT_REQUIRED" val="9.2.99"/>
  <p:tag name="RUNTIME_ID" val="b2d7fdd6-934f-4a63-937e-eb6337ae1bcb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A02AC6D9EF9CA44BE2D7FE53E0F875C" ma:contentTypeVersion="12" ma:contentTypeDescription="Ein neues Dokument erstellen." ma:contentTypeScope="" ma:versionID="6c6d252082fd9ae2dc48941f9a6fd36f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aecc70ee-2d6e-4d6b-a98f-0dfc4d2572dc" xmlns:ns4="3f1a0a6d-c532-4d53-8c70-93adc7cbe80c" targetNamespace="http://schemas.microsoft.com/office/2006/metadata/properties" ma:root="true" ma:fieldsID="7789a1f2097b8e592a747d770cd7424d" ns1:_="" ns2:_="" ns3:_="" ns4:_="">
    <xsd:import namespace="http://schemas.microsoft.com/sharepoint/v3"/>
    <xsd:import namespace="1a4d292e-883c-434b-96e3-060cfff16c86"/>
    <xsd:import namespace="aecc70ee-2d6e-4d6b-a98f-0dfc4d2572dc"/>
    <xsd:import namespace="3f1a0a6d-c532-4d53-8c70-93adc7cbe80c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GenerationTime" minOccurs="0"/>
                <xsd:element ref="ns3:MediaServiceEventHashCod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Von der Richtlinie ausgenommen" ma:hidden="true" ma:internalName="_dlc_Exempt" ma:readOnly="false">
      <xsd:simpleType>
        <xsd:restriction base="dms:Unknown"/>
      </xsd:simpleType>
    </xsd:element>
    <xsd:element name="_dlc_ExpireDateSaved" ma:index="11" nillable="true" ma:displayName="Ursprüngliches Ablaufdatum" ma:hidden="true" ma:internalName="_dlc_ExpireDateSaved" ma:readOnly="false">
      <xsd:simpleType>
        <xsd:restriction base="dms:DateTime"/>
      </xsd:simpleType>
    </xsd:element>
    <xsd:element name="_dlc_ExpireDate" ma:index="12" nillable="true" ma:displayName="Ablaufdatum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b599c451-461d-4bcb-96b9-7f01ce286709}" ma:internalName="TaxCatchAll" ma:showField="CatchAllData" ma:web="3f1a0a6d-c532-4d53-8c70-93adc7cbe8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b599c451-461d-4bcb-96b9-7f01ce286709}" ma:internalName="TaxCatchAllLabel" ma:readOnly="true" ma:showField="CatchAllDataLabel" ma:web="3f1a0a6d-c532-4d53-8c70-93adc7cbe8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c70ee-2d6e-4d6b-a98f-0dfc4d2572dc" elementFormDefault="qualified">
    <xsd:import namespace="http://schemas.microsoft.com/office/2006/documentManagement/types"/>
    <xsd:import namespace="http://schemas.microsoft.com/office/infopath/2007/PartnerControls"/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a0a6d-c532-4d53-8c70-93adc7cbe80c" elementFormDefault="qualified">
    <xsd:import namespace="http://schemas.microsoft.com/office/2006/documentManagement/types"/>
    <xsd:import namespace="http://schemas.microsoft.com/office/infopath/2007/PartnerControls"/>
    <xsd:element name="SharedWithUsers" ma:index="2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7bc43322-b630-4bac-8b27-31def233d1d0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/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AFBB2A2-6AEA-44D3-9E19-77C2996646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aecc70ee-2d6e-4d6b-a98f-0dfc4d2572dc"/>
    <ds:schemaRef ds:uri="3f1a0a6d-c532-4d53-8c70-93adc7cbe8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E7F328-0877-4E3B-89D4-88D98111FCAF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04D729A8-6F7F-45FE-91C8-CB5671C0CFA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ACF9CDC-7187-4C27-99A4-44DD755F7818}">
  <ds:schemaRefs>
    <ds:schemaRef ds:uri="http://schemas.microsoft.com/office/2006/metadata/properties"/>
    <ds:schemaRef ds:uri="http://schemas.microsoft.com/office/infopath/2007/PartnerControls"/>
    <ds:schemaRef ds:uri="1a4d292e-883c-434b-96e3-060cfff16c86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ebastian Frechen</dc:creator>
  <cp:lastModifiedBy>Mariana Guimaraes Sa Correia</cp:lastModifiedBy>
  <cp:revision>9</cp:revision>
  <dcterms:created xsi:type="dcterms:W3CDTF">2020-12-07T14:12:34Z</dcterms:created>
  <dcterms:modified xsi:type="dcterms:W3CDTF">2024-12-17T18:1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A02AC6D9EF9CA44BE2D7FE53E0F875C</vt:lpwstr>
  </property>
  <property fmtid="{D5CDD505-2E9C-101B-9397-08002B2CF9AE}" pid="3" name="MSIP_Label_7f850223-87a8-40c3-9eb2-432606efca2a_Enabled">
    <vt:lpwstr>true</vt:lpwstr>
  </property>
  <property fmtid="{D5CDD505-2E9C-101B-9397-08002B2CF9AE}" pid="4" name="MSIP_Label_7f850223-87a8-40c3-9eb2-432606efca2a_SetDate">
    <vt:lpwstr>2022-01-13T11:43:11Z</vt:lpwstr>
  </property>
  <property fmtid="{D5CDD505-2E9C-101B-9397-08002B2CF9AE}" pid="5" name="MSIP_Label_7f850223-87a8-40c3-9eb2-432606efca2a_Method">
    <vt:lpwstr>Standard</vt:lpwstr>
  </property>
  <property fmtid="{D5CDD505-2E9C-101B-9397-08002B2CF9AE}" pid="6" name="MSIP_Label_7f850223-87a8-40c3-9eb2-432606efca2a_Name">
    <vt:lpwstr>7f850223-87a8-40c3-9eb2-432606efca2a</vt:lpwstr>
  </property>
  <property fmtid="{D5CDD505-2E9C-101B-9397-08002B2CF9AE}" pid="7" name="MSIP_Label_7f850223-87a8-40c3-9eb2-432606efca2a_SiteId">
    <vt:lpwstr>fcb2b37b-5da0-466b-9b83-0014b67a7c78</vt:lpwstr>
  </property>
  <property fmtid="{D5CDD505-2E9C-101B-9397-08002B2CF9AE}" pid="8" name="MSIP_Label_7f850223-87a8-40c3-9eb2-432606efca2a_ContentBits">
    <vt:lpwstr>0</vt:lpwstr>
  </property>
</Properties>
</file>